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3"/>
  </p:notesMasterIdLst>
  <p:handoutMasterIdLst>
    <p:handoutMasterId r:id="rId14"/>
  </p:handoutMasterIdLst>
  <p:sldIdLst>
    <p:sldId id="546" r:id="rId7"/>
    <p:sldId id="2141411554" r:id="rId8"/>
    <p:sldId id="2141411566" r:id="rId9"/>
    <p:sldId id="2141411565" r:id="rId10"/>
    <p:sldId id="2141411571" r:id="rId11"/>
    <p:sldId id="2141411444" r:id="rId12"/>
  </p:sldIdLst>
  <p:sldSz cx="12192000" cy="6858000"/>
  <p:notesSz cx="6670675" cy="9777413"/>
  <p:custDataLst>
    <p:tags r:id="rId15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4A2573-7B50-4C34-A31E-2221ED0A37FF}" v="1" dt="2024-01-02T17:44:23.32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BF4A2573-7B50-4C34-A31E-2221ED0A37FF}"/>
    <pc:docChg chg="modSld">
      <pc:chgData name="Kevin Hanson" userId="e60c6aad-8614-4884-8dc2-e8f78e5022b5" providerId="ADAL" clId="{BF4A2573-7B50-4C34-A31E-2221ED0A37FF}" dt="2024-01-02T17:45:42.134" v="141" actId="20577"/>
      <pc:docMkLst>
        <pc:docMk/>
      </pc:docMkLst>
      <pc:sldChg chg="modSp mod">
        <pc:chgData name="Kevin Hanson" userId="e60c6aad-8614-4884-8dc2-e8f78e5022b5" providerId="ADAL" clId="{BF4A2573-7B50-4C34-A31E-2221ED0A37FF}" dt="2024-01-02T17:45:42.134" v="141" actId="20577"/>
        <pc:sldMkLst>
          <pc:docMk/>
          <pc:sldMk cId="3984087293" sldId="2141411565"/>
        </pc:sldMkLst>
        <pc:spChg chg="mod">
          <ac:chgData name="Kevin Hanson" userId="e60c6aad-8614-4884-8dc2-e8f78e5022b5" providerId="ADAL" clId="{BF4A2573-7B50-4C34-A31E-2221ED0A37FF}" dt="2024-01-02T17:45:42.134" v="141" actId="20577"/>
          <ac:spMkLst>
            <pc:docMk/>
            <pc:sldMk cId="3984087293" sldId="2141411565"/>
            <ac:spMk id="2" creationId="{26F7F31D-C1E4-4F69-8D94-EED4F7BC594F}"/>
          </ac:spMkLst>
        </pc:spChg>
      </pc:sldChg>
    </pc:docChg>
  </pc:docChgLst>
  <pc:docChgLst>
    <pc:chgData name="Kevin Hanson" userId="e60c6aad-8614-4884-8dc2-e8f78e5022b5" providerId="ADAL" clId="{B53D2334-8180-4133-8E49-05081B8C1E6C}"/>
    <pc:docChg chg="undo custSel delSld modSld">
      <pc:chgData name="Kevin Hanson" userId="e60c6aad-8614-4884-8dc2-e8f78e5022b5" providerId="ADAL" clId="{B53D2334-8180-4133-8E49-05081B8C1E6C}" dt="2023-12-29T17:46:05.293" v="1599" actId="20577"/>
      <pc:docMkLst>
        <pc:docMk/>
      </pc:docMkLst>
      <pc:sldChg chg="modSp mod">
        <pc:chgData name="Kevin Hanson" userId="e60c6aad-8614-4884-8dc2-e8f78e5022b5" providerId="ADAL" clId="{B53D2334-8180-4133-8E49-05081B8C1E6C}" dt="2023-12-28T22:10:09.274" v="18" actId="20577"/>
        <pc:sldMkLst>
          <pc:docMk/>
          <pc:sldMk cId="136374311" sldId="546"/>
        </pc:sldMkLst>
        <pc:spChg chg="mod">
          <ac:chgData name="Kevin Hanson" userId="e60c6aad-8614-4884-8dc2-e8f78e5022b5" providerId="ADAL" clId="{B53D2334-8180-4133-8E49-05081B8C1E6C}" dt="2023-12-28T22:09:53.707" v="7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B53D2334-8180-4133-8E49-05081B8C1E6C}" dt="2023-12-28T22:10:09.274" v="18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 Hanson" userId="e60c6aad-8614-4884-8dc2-e8f78e5022b5" providerId="ADAL" clId="{B53D2334-8180-4133-8E49-05081B8C1E6C}" dt="2023-12-29T17:39:43.120" v="1204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B53D2334-8180-4133-8E49-05081B8C1E6C}" dt="2023-12-29T17:39:43.120" v="1204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modSp mod">
        <pc:chgData name="Kevin Hanson" userId="e60c6aad-8614-4884-8dc2-e8f78e5022b5" providerId="ADAL" clId="{B53D2334-8180-4133-8E49-05081B8C1E6C}" dt="2023-12-29T17:38:08.055" v="1193" actId="14100"/>
        <pc:sldMkLst>
          <pc:docMk/>
          <pc:sldMk cId="3984087293" sldId="2141411565"/>
        </pc:sldMkLst>
        <pc:spChg chg="mod">
          <ac:chgData name="Kevin Hanson" userId="e60c6aad-8614-4884-8dc2-e8f78e5022b5" providerId="ADAL" clId="{B53D2334-8180-4133-8E49-05081B8C1E6C}" dt="2023-12-29T17:38:08.055" v="1193" actId="14100"/>
          <ac:spMkLst>
            <pc:docMk/>
            <pc:sldMk cId="3984087293" sldId="2141411565"/>
            <ac:spMk id="2" creationId="{26F7F31D-C1E4-4F69-8D94-EED4F7BC594F}"/>
          </ac:spMkLst>
        </pc:spChg>
        <pc:spChg chg="mod">
          <ac:chgData name="Kevin Hanson" userId="e60c6aad-8614-4884-8dc2-e8f78e5022b5" providerId="ADAL" clId="{B53D2334-8180-4133-8E49-05081B8C1E6C}" dt="2023-12-29T15:15:59.178" v="528"/>
          <ac:spMkLst>
            <pc:docMk/>
            <pc:sldMk cId="3984087293" sldId="2141411565"/>
            <ac:spMk id="4" creationId="{1CCD6C1B-3C18-4BBD-9056-72F40A1C644D}"/>
          </ac:spMkLst>
        </pc:spChg>
      </pc:sldChg>
      <pc:sldChg chg="addSp delSp modSp mod">
        <pc:chgData name="Kevin Hanson" userId="e60c6aad-8614-4884-8dc2-e8f78e5022b5" providerId="ADAL" clId="{B53D2334-8180-4133-8E49-05081B8C1E6C}" dt="2023-12-29T15:15:25.531" v="527" actId="20577"/>
        <pc:sldMkLst>
          <pc:docMk/>
          <pc:sldMk cId="3709164271" sldId="2141411566"/>
        </pc:sldMkLst>
        <pc:spChg chg="mod">
          <ac:chgData name="Kevin Hanson" userId="e60c6aad-8614-4884-8dc2-e8f78e5022b5" providerId="ADAL" clId="{B53D2334-8180-4133-8E49-05081B8C1E6C}" dt="2023-12-29T15:15:25.531" v="527" actId="20577"/>
          <ac:spMkLst>
            <pc:docMk/>
            <pc:sldMk cId="3709164271" sldId="2141411566"/>
            <ac:spMk id="2" creationId="{4E82136D-651B-41D7-B721-4E65EAB51597}"/>
          </ac:spMkLst>
        </pc:spChg>
        <pc:spChg chg="mod">
          <ac:chgData name="Kevin Hanson" userId="e60c6aad-8614-4884-8dc2-e8f78e5022b5" providerId="ADAL" clId="{B53D2334-8180-4133-8E49-05081B8C1E6C}" dt="2023-12-29T14:37:32.876" v="209"/>
          <ac:spMkLst>
            <pc:docMk/>
            <pc:sldMk cId="3709164271" sldId="2141411566"/>
            <ac:spMk id="4" creationId="{1CCD6C1B-3C18-4BBD-9056-72F40A1C644D}"/>
          </ac:spMkLst>
        </pc:spChg>
        <pc:picChg chg="add mod">
          <ac:chgData name="Kevin Hanson" userId="e60c6aad-8614-4884-8dc2-e8f78e5022b5" providerId="ADAL" clId="{B53D2334-8180-4133-8E49-05081B8C1E6C}" dt="2023-12-29T15:15:00.031" v="481" actId="1076"/>
          <ac:picMkLst>
            <pc:docMk/>
            <pc:sldMk cId="3709164271" sldId="2141411566"/>
            <ac:picMk id="5" creationId="{81B00BC0-440D-45ED-8A29-05D710E19DF6}"/>
          </ac:picMkLst>
        </pc:picChg>
        <pc:picChg chg="add mod">
          <ac:chgData name="Kevin Hanson" userId="e60c6aad-8614-4884-8dc2-e8f78e5022b5" providerId="ADAL" clId="{B53D2334-8180-4133-8E49-05081B8C1E6C}" dt="2023-12-29T15:15:12.724" v="482" actId="14100"/>
          <ac:picMkLst>
            <pc:docMk/>
            <pc:sldMk cId="3709164271" sldId="2141411566"/>
            <ac:picMk id="6" creationId="{65401DA9-4547-4486-8AA6-E41783E4F14C}"/>
          </ac:picMkLst>
        </pc:picChg>
        <pc:picChg chg="del">
          <ac:chgData name="Kevin Hanson" userId="e60c6aad-8614-4884-8dc2-e8f78e5022b5" providerId="ADAL" clId="{B53D2334-8180-4133-8E49-05081B8C1E6C}" dt="2023-12-29T14:37:38.110" v="210" actId="478"/>
          <ac:picMkLst>
            <pc:docMk/>
            <pc:sldMk cId="3709164271" sldId="2141411566"/>
            <ac:picMk id="7" creationId="{534C7F5F-E0CE-4B5A-91AB-FDC1C73C9410}"/>
          </ac:picMkLst>
        </pc:picChg>
        <pc:picChg chg="del">
          <ac:chgData name="Kevin Hanson" userId="e60c6aad-8614-4884-8dc2-e8f78e5022b5" providerId="ADAL" clId="{B53D2334-8180-4133-8E49-05081B8C1E6C}" dt="2023-12-29T14:37:40.437" v="211" actId="478"/>
          <ac:picMkLst>
            <pc:docMk/>
            <pc:sldMk cId="3709164271" sldId="2141411566"/>
            <ac:picMk id="11" creationId="{FE4A18DA-4A29-45D1-AA1B-F129D365DEF4}"/>
          </ac:picMkLst>
        </pc:picChg>
      </pc:sldChg>
      <pc:sldChg chg="modSp mod">
        <pc:chgData name="Kevin Hanson" userId="e60c6aad-8614-4884-8dc2-e8f78e5022b5" providerId="ADAL" clId="{B53D2334-8180-4133-8E49-05081B8C1E6C}" dt="2023-12-29T17:46:05.293" v="1599" actId="20577"/>
        <pc:sldMkLst>
          <pc:docMk/>
          <pc:sldMk cId="2702995705" sldId="2141411571"/>
        </pc:sldMkLst>
        <pc:spChg chg="mod">
          <ac:chgData name="Kevin Hanson" userId="e60c6aad-8614-4884-8dc2-e8f78e5022b5" providerId="ADAL" clId="{B53D2334-8180-4133-8E49-05081B8C1E6C}" dt="2023-12-29T17:46:05.293" v="1599" actId="20577"/>
          <ac:spMkLst>
            <pc:docMk/>
            <pc:sldMk cId="2702995705" sldId="2141411571"/>
            <ac:spMk id="2" creationId="{4E82136D-651B-41D7-B721-4E65EAB51597}"/>
          </ac:spMkLst>
        </pc:spChg>
        <pc:spChg chg="mod">
          <ac:chgData name="Kevin Hanson" userId="e60c6aad-8614-4884-8dc2-e8f78e5022b5" providerId="ADAL" clId="{B53D2334-8180-4133-8E49-05081B8C1E6C}" dt="2023-12-29T17:40:57.853" v="1206"/>
          <ac:spMkLst>
            <pc:docMk/>
            <pc:sldMk cId="2702995705" sldId="2141411571"/>
            <ac:spMk id="4" creationId="{1CCD6C1B-3C18-4BBD-9056-72F40A1C644D}"/>
          </ac:spMkLst>
        </pc:spChg>
      </pc:sldChg>
      <pc:sldChg chg="del">
        <pc:chgData name="Kevin Hanson" userId="e60c6aad-8614-4884-8dc2-e8f78e5022b5" providerId="ADAL" clId="{B53D2334-8180-4133-8E49-05081B8C1E6C}" dt="2023-12-29T17:40:22.622" v="1205" actId="47"/>
        <pc:sldMkLst>
          <pc:docMk/>
          <pc:sldMk cId="2946229942" sldId="2141411572"/>
        </pc:sldMkLst>
      </pc:sldChg>
      <pc:sldChg chg="del">
        <pc:chgData name="Kevin Hanson" userId="e60c6aad-8614-4884-8dc2-e8f78e5022b5" providerId="ADAL" clId="{B53D2334-8180-4133-8E49-05081B8C1E6C}" dt="2023-12-29T15:16:27.203" v="530" actId="47"/>
        <pc:sldMkLst>
          <pc:docMk/>
          <pc:sldMk cId="1406318844" sldId="2141411573"/>
        </pc:sldMkLst>
      </pc:sldChg>
      <pc:sldChg chg="del">
        <pc:chgData name="Kevin Hanson" userId="e60c6aad-8614-4884-8dc2-e8f78e5022b5" providerId="ADAL" clId="{B53D2334-8180-4133-8E49-05081B8C1E6C}" dt="2023-12-29T15:16:26.127" v="529" actId="47"/>
        <pc:sldMkLst>
          <pc:docMk/>
          <pc:sldMk cId="3910900116" sldId="214141157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02/01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02/01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779895-3E67-4CB8-BE0C-23F3FD5FF7F3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9153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January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January 10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Greg Lackey (CPS Energy) Co-Vice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424518"/>
            <a:ext cx="9593887" cy="3611245"/>
          </a:xfrm>
        </p:spPr>
        <p:txBody>
          <a:bodyPr/>
          <a:lstStyle/>
          <a:p>
            <a:r>
              <a:rPr lang="en-US" b="0" i="0" dirty="0">
                <a:solidFill>
                  <a:srgbClr val="FF0000"/>
                </a:solidFill>
                <a:effectLst/>
                <a:latin typeface="Roboto" panose="02000000000000000000" pitchFamily="2" charset="0"/>
              </a:rPr>
              <a:t>2024 SAWG Leadership remains the same as 2023</a:t>
            </a:r>
          </a:p>
          <a:p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2024 Long Term Load Forecast Overview (Kate Lamb and Sam Morris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, VOLL and CONE Study Updates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Status of CDR NPRR (Pete Warnken)</a:t>
            </a:r>
          </a:p>
          <a:p>
            <a:r>
              <a:rPr lang="en-US" b="0" dirty="0">
                <a:solidFill>
                  <a:srgbClr val="212529"/>
                </a:solidFill>
                <a:latin typeface="Roboto" panose="02000000000000000000" pitchFamily="2" charset="0"/>
              </a:rPr>
              <a:t>December CDR / February 2024 MORA Overview and Q&amp;A (Pete Warnken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2024 Long Term Load Forecast Overview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4385" y="931282"/>
            <a:ext cx="9528477" cy="1846659"/>
          </a:xfrm>
        </p:spPr>
        <p:txBody>
          <a:bodyPr/>
          <a:lstStyle/>
          <a:p>
            <a:r>
              <a:rPr lang="en-US" sz="2000" dirty="0"/>
              <a:t>WATERFALL METHODOLOGY</a:t>
            </a:r>
          </a:p>
          <a:p>
            <a:r>
              <a:rPr lang="en-US" sz="2000" dirty="0"/>
              <a:t>Net Forecast = Gross Forecast + EV Forecast + LFL Forecast – PV Forecast</a:t>
            </a:r>
          </a:p>
          <a:p>
            <a:r>
              <a:rPr lang="en-US" sz="2000" dirty="0"/>
              <a:t>Base year changed from 2013 to 2008</a:t>
            </a:r>
          </a:p>
          <a:p>
            <a:r>
              <a:rPr lang="en-US" sz="2000" dirty="0"/>
              <a:t>Large Flexible Loads contribution changed from 10% to 15%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B00BC0-440D-45ED-8A29-05D710E19D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082" y="2782263"/>
            <a:ext cx="5205740" cy="35399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401DA9-4547-4486-8AA6-E41783E4F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2830" y="2824407"/>
            <a:ext cx="5773164" cy="3497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16427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Reliability Standard, VOLL and CONE Study Updates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6F7F31D-C1E4-4F69-8D94-EED4F7BC59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010109"/>
            <a:ext cx="10725599" cy="5386090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1800" dirty="0"/>
              <a:t>Reliability Standard Scenario Study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Completed third modeling phase</a:t>
            </a:r>
          </a:p>
          <a:p>
            <a:pPr lvl="2">
              <a:spcAft>
                <a:spcPts val="800"/>
              </a:spcAft>
            </a:pPr>
            <a:r>
              <a:rPr lang="en-US" sz="1800" dirty="0"/>
              <a:t>Replaced 1 in 5 year (0.2 LOLE) with 1 in 8 year (0.125 LOLE)</a:t>
            </a:r>
          </a:p>
          <a:p>
            <a:pPr lvl="2">
              <a:spcAft>
                <a:spcPts val="800"/>
              </a:spcAft>
            </a:pPr>
            <a:r>
              <a:rPr lang="en-US" sz="1800" dirty="0"/>
              <a:t>CDR Mix portfolio with more inverter-based resources</a:t>
            </a:r>
          </a:p>
          <a:p>
            <a:pPr lvl="2">
              <a:spcAft>
                <a:spcPts val="800"/>
              </a:spcAft>
            </a:pPr>
            <a:r>
              <a:rPr lang="en-US" sz="1800" dirty="0"/>
              <a:t>Discussing strategy with PUCT staff for analyzing LOLE impact of $1 billion PCM net cost cap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Results are expected to be filed for the January 2024 PUCT Open Meeting</a:t>
            </a:r>
          </a:p>
          <a:p>
            <a:pPr>
              <a:spcAft>
                <a:spcPts val="800"/>
              </a:spcAft>
            </a:pPr>
            <a:r>
              <a:rPr lang="en-US" sz="1800" dirty="0"/>
              <a:t>VOLL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PUCT VOLL review project opened in November, #55837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Brattle Group recently completed VOLL literature review and estimated interim VOLL values based on Lawrence Berkeley National Lab methodology and Texas public economic/energy use data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Brattle submitted a VOLL survey work plan on December 7 with implementation timeline January to July 2024</a:t>
            </a:r>
          </a:p>
          <a:p>
            <a:pPr>
              <a:spcAft>
                <a:spcPts val="800"/>
              </a:spcAft>
            </a:pPr>
            <a:r>
              <a:rPr lang="en-US" sz="1800" dirty="0"/>
              <a:t>Cost of New Entry (CONE) Study</a:t>
            </a:r>
          </a:p>
          <a:p>
            <a:pPr lvl="1">
              <a:spcAft>
                <a:spcPts val="800"/>
              </a:spcAft>
            </a:pPr>
            <a:r>
              <a:rPr lang="en-US" sz="1800" dirty="0"/>
              <a:t>Consultant selected and contract will be awarded by end of December </a:t>
            </a:r>
          </a:p>
          <a:p>
            <a:pPr lvl="2">
              <a:spcAft>
                <a:spcPts val="800"/>
              </a:spcAft>
            </a:pPr>
            <a:r>
              <a:rPr lang="en-US" sz="1800" dirty="0"/>
              <a:t>Brattle Group has been identified as the consultant since </a:t>
            </a:r>
            <a:r>
              <a:rPr lang="en-US" sz="1800"/>
              <a:t>the SAWG meeting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9840872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CCD6C1B-3C18-4BBD-9056-72F40A1C64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December CDR / February 2024 MORA Overview and Q&amp;A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E82136D-651B-41D7-B721-4E65EAB515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677" y="931281"/>
            <a:ext cx="11720778" cy="3600986"/>
          </a:xfrm>
        </p:spPr>
        <p:txBody>
          <a:bodyPr/>
          <a:lstStyle/>
          <a:p>
            <a:r>
              <a:rPr lang="en-US" sz="2000" dirty="0"/>
              <a:t>December 2023 to May 2023</a:t>
            </a:r>
          </a:p>
          <a:p>
            <a:pPr lvl="1"/>
            <a:r>
              <a:rPr lang="en-US" sz="1600" dirty="0"/>
              <a:t>~5,000 MW COD delay for storage resources</a:t>
            </a:r>
          </a:p>
          <a:p>
            <a:endParaRPr lang="en-US" sz="2000" dirty="0"/>
          </a:p>
          <a:p>
            <a:r>
              <a:rPr lang="en-US" sz="2000" dirty="0"/>
              <a:t>February MORA Overview</a:t>
            </a:r>
          </a:p>
          <a:p>
            <a:pPr lvl="1"/>
            <a:r>
              <a:rPr lang="en-US" sz="1600" dirty="0"/>
              <a:t>Under normal weather: Riskiest hour for experiencing emergency conditions are at 8 am which is the same for January 2024, but February risk at 8 am drops from 7.6% to 3.2%</a:t>
            </a:r>
          </a:p>
          <a:p>
            <a:pPr lvl="1"/>
            <a:r>
              <a:rPr lang="en-US" sz="1600" dirty="0"/>
              <a:t>Under WS Elliott weather: Riskiest hour for experiencing emergency conditions are at 8 am which is the same for January 2024, but February risk at 8 am drops from 20.6% to 18.3%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0299570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3360</TotalTime>
  <Words>392</Words>
  <Application>Microsoft Office PowerPoint</Application>
  <PresentationFormat>Widescreen</PresentationFormat>
  <Paragraphs>4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January 2024 Update to WMS  </vt:lpstr>
      <vt:lpstr>Overview</vt:lpstr>
      <vt:lpstr>2024 Long Term Load Forecast Overview </vt:lpstr>
      <vt:lpstr>Reliability Standard, VOLL and CONE Study Updates </vt:lpstr>
      <vt:lpstr>December CDR / February 2024 MORA Overview and Q&amp;A 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1</cp:revision>
  <cp:lastPrinted>2018-08-10T07:16:05Z</cp:lastPrinted>
  <dcterms:created xsi:type="dcterms:W3CDTF">2021-05-20T11:21:33Z</dcterms:created>
  <dcterms:modified xsi:type="dcterms:W3CDTF">2024-01-02T17:4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